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unknown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ldMasterIdLst>
    <p:sldMasterId id="2147483837" r:id="rId1"/>
  </p:sldMasterIdLst>
  <p:notesMasterIdLst>
    <p:notesMasterId r:id="rId2"/>
  </p:notesMasterIdLst>
  <p:handoutMasterIdLst>
    <p:handoutMasterId r:id="rId3"/>
  </p:handout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sldAll/>
    <p:penClr>
      <a:srgbClr val="ff0000"/>
    </p:penClr>
    <p:extLst>
      <p:ext uri="{2FDB2607-1784-4EEB-B798-7EB5836EED8A}">
        <p14:showMediaCtrls xmlns:p14="http://schemas.microsoft.com/office/powerpoint/2010/main" val="1"/>
      </p:ext>
    </p:extLst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def="{5C22544A-7EE6-4342-B048-85BDC9FD1C3A}">
  <a:tblStyle styleId="{4BBA2D1F-E88D-431A-877F-97C11ED6EE09}" styleName="Light Style 3 - Body/Background 3">
    <a:wholeTbl>
      <a:tcTxStyle>
        <a:fontRef idx="minor">
          <a:scrgbClr r="0" g="0" b="0"/>
        </a:fontRef>
        <a:schemeClr val="tx1"/>
      </a:tcTxStyle>
      <a:tcStyle>
        <a:tcBdr>
          <a:left>
            <a:ln w="32700" cmpd="sng">
              <a:solidFill>
                <a:schemeClr val="dk1"/>
              </a:solidFill>
              <a:prstDash val="dash"/>
            </a:ln>
          </a:left>
          <a:right>
            <a:ln w="32700" cmpd="sng">
              <a:solidFill>
                <a:schemeClr val="dk1"/>
              </a:solidFill>
              <a:prstDash val="dash"/>
            </a:ln>
          </a:right>
          <a:top>
            <a:ln w="32700" cmpd="sng">
              <a:solidFill>
                <a:schemeClr val="dk1"/>
              </a:solidFill>
              <a:prstDash val="dash"/>
            </a:ln>
          </a:top>
          <a:bottom>
            <a:ln w="32700" cmpd="sng">
              <a:solidFill>
                <a:schemeClr val="dk1"/>
              </a:solidFill>
              <a:prstDash val="dash"/>
            </a:ln>
          </a:bottom>
          <a:insideH>
            <a:ln w="22700" cmpd="sng">
              <a:solidFill>
                <a:schemeClr val="dk1"/>
              </a:solidFill>
              <a:prstDash val="sysDot"/>
            </a:ln>
          </a:insideH>
          <a:insideV>
            <a:ln w="22700" cmpd="sng">
              <a:solidFill>
                <a:schemeClr val="dk1"/>
              </a:solidFill>
              <a:prstDash val="sysDot"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dk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sng">
              <a:solidFill>
                <a:schemeClr val="dk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69FF03A-DF0C-4845-94BB-EF2385AD676B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2700" cmpd="sng">
              <a:solidFill>
                <a:schemeClr val="accent1"/>
              </a:solidFill>
            </a:ln>
          </a:top>
          <a:bottom>
            <a:ln w="2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 w="10000" cmpd="sng">
              <a:solidFill>
                <a:schemeClr val="accent1"/>
              </a:solidFill>
            </a:ln>
          </a:top>
          <a:bottom>
            <a:ln w="10000" cmpd="sng">
              <a:solidFill>
                <a:schemeClr val="accent1"/>
              </a:solidFill>
            </a:ln>
          </a:bottom>
        </a:tcBdr>
        <a:fill>
          <a:solidFill>
            <a:schemeClr val="accent1">
              <a:alpha val="20000"/>
              <a:tint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06F615A-370F-48FF-96DE-FFA2584FB0C5}" styleName="Light Style 2 - Body/Background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  <a:top>
            <a:lnRef idx="1">
              <a:schemeClr val="dk1"/>
            </a:lnRef>
          </a:top>
          <a:bottom>
            <a:lnRef idx="1">
              <a:schemeClr val="dk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dk1"/>
            </a:lnRef>
          </a:top>
          <a:bottom>
            <a:lnRef idx="1">
              <a:schemeClr val="dk1"/>
            </a:lnRef>
          </a:bottom>
        </a:tcBdr>
      </a:tcStyle>
    </a:band1H>
    <a:band1V>
      <a:tcTxStyle/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1V>
    <a:band2V>
      <a:tcTxStyle/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dk1"/>
      </a:tcTxStyle>
      <a:tcStyle>
        <a:tcBdr>
          <a:top>
            <a:ln w="60800" cmpd="dbl">
              <a:solidFill>
                <a:schemeClr val="dk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dk1">
          <a:shade val="40000"/>
        </a:schemeClr>
      </a:tcTxStyle>
      <a:tcStyle>
        <a:tcBdr/>
        <a:fill>
          <a:solidFill>
            <a:schemeClr val="dk1">
              <a:alpha val="40000"/>
            </a:schemeClr>
          </a:solidFill>
        </a:fill>
      </a:tcStyle>
    </a:firstRow>
  </a:tblStyle>
  <a:tblStyle styleId="{729D6073-5DEC-478E-BFBB-120F47F47B7E}" styleName="Light Style 1 - Body/Background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2700" cmpd="sng">
              <a:solidFill>
                <a:schemeClr val="dk1"/>
              </a:solidFill>
            </a:ln>
          </a:top>
          <a:bottom>
            <a:ln w="227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 w="10000" cmpd="sng">
              <a:solidFill>
                <a:schemeClr val="dk1"/>
              </a:solidFill>
            </a:ln>
          </a:top>
          <a:bottom>
            <a:ln w="10000" cmpd="sng">
              <a:solidFill>
                <a:schemeClr val="dk1"/>
              </a:solidFill>
            </a:ln>
          </a:bottom>
        </a:tcBdr>
        <a:fill>
          <a:solidFill>
            <a:schemeClr val="dk1">
              <a:alpha val="20000"/>
              <a:tint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dbl">
              <a:solidFill>
                <a:schemeClr val="dk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F30E45CE-1E6F-404D-914F-DC5B132B5B5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32700" cmpd="sng">
              <a:solidFill>
                <a:schemeClr val="accent1"/>
              </a:solidFill>
              <a:prstDash val="dash"/>
            </a:ln>
          </a:left>
          <a:right>
            <a:ln w="32700" cmpd="sng">
              <a:solidFill>
                <a:schemeClr val="accent1"/>
              </a:solidFill>
              <a:prstDash val="dash"/>
            </a:ln>
          </a:right>
          <a:top>
            <a:ln w="32700" cmpd="sng">
              <a:solidFill>
                <a:schemeClr val="accent1"/>
              </a:solidFill>
              <a:prstDash val="dash"/>
            </a:ln>
          </a:top>
          <a:bottom>
            <a:ln w="32700" cmpd="sng">
              <a:solidFill>
                <a:schemeClr val="accent1"/>
              </a:solidFill>
              <a:prstDash val="dash"/>
            </a:ln>
          </a:bottom>
          <a:insideH>
            <a:ln w="22700" cmpd="sng">
              <a:solidFill>
                <a:schemeClr val="accent1"/>
              </a:solidFill>
              <a:prstDash val="sysDot"/>
            </a:ln>
          </a:insideH>
          <a:insideV>
            <a:ln w="22700" cmpd="sng">
              <a:solidFill>
                <a:schemeClr val="accent1"/>
              </a:solidFill>
              <a:prstDash val="sysDot"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1A66EDD-3DAB-4C5B-A090-DC80EC1FD486}" styleName="Normal Style 1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F0A0EA-C916-463C-A3AD-4CCFBD9124EA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TxStyle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TxStyle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>
          <a:top>
            <a:ln w="6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1">
          <a:shade val="40000"/>
        </a:schemeClr>
      </a:tcTxStyle>
      <a:tcStyle>
        <a:tcBdr/>
        <a:fill>
          <a:solidFill>
            <a:schemeClr val="accent1">
              <a:alpha val="40000"/>
            </a:schemeClr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0781"/>
    <p:restoredTop sz="85485"/>
  </p:normalViewPr>
  <p:slideViewPr>
    <p:cSldViewPr>
      <p:cViewPr varScale="1">
        <p:scale>
          <a:sx n="100" d="100"/>
          <a:sy n="100" d="100"/>
        </p:scale>
        <p:origin x="-1086" y="-102"/>
      </p:cViewPr>
      <p:guideLst>
        <p:guide orient="horz" pos="2154"/>
        <p:guide pos="287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7.xml"  /><Relationship Id="rId11" Type="http://schemas.openxmlformats.org/officeDocument/2006/relationships/slide" Target="slides/slide8.xml"  /><Relationship Id="rId12" Type="http://schemas.openxmlformats.org/officeDocument/2006/relationships/slide" Target="slides/slide9.xml"  /><Relationship Id="rId13" Type="http://schemas.openxmlformats.org/officeDocument/2006/relationships/slide" Target="slides/slide10.xml"  /><Relationship Id="rId14" Type="http://schemas.openxmlformats.org/officeDocument/2006/relationships/slide" Target="slides/slide11.xml"  /><Relationship Id="rId15" Type="http://schemas.openxmlformats.org/officeDocument/2006/relationships/slide" Target="slides/slide12.xml"  /><Relationship Id="rId16" Type="http://schemas.openxmlformats.org/officeDocument/2006/relationships/slide" Target="slides/slide13.xml"  /><Relationship Id="rId17" Type="http://schemas.openxmlformats.org/officeDocument/2006/relationships/presProps" Target="presProps.xml"  /><Relationship Id="rId18" Type="http://schemas.openxmlformats.org/officeDocument/2006/relationships/viewProps" Target="viewProps.xml"  /><Relationship Id="rId19" Type="http://schemas.openxmlformats.org/officeDocument/2006/relationships/theme" Target="theme/theme1.xml"  /><Relationship Id="rId2" Type="http://schemas.openxmlformats.org/officeDocument/2006/relationships/notesMaster" Target="notesMasters/notesMaster1.xml"  /><Relationship Id="rId20" Type="http://schemas.openxmlformats.org/officeDocument/2006/relationships/tableStyles" Target="tableStyles.xml"  /><Relationship Id="rId3" Type="http://schemas.openxmlformats.org/officeDocument/2006/relationships/handoutMaster" Target="handoutMasters/handoutMaster1.xml"  /><Relationship Id="rId4" Type="http://schemas.openxmlformats.org/officeDocument/2006/relationships/slide" Target="slides/slide1.xml"  /><Relationship Id="rId5" Type="http://schemas.openxmlformats.org/officeDocument/2006/relationships/slide" Target="slides/slide2.xml"  /><Relationship Id="rId6" Type="http://schemas.openxmlformats.org/officeDocument/2006/relationships/slide" Target="slides/slide3.xml"  /><Relationship Id="rId7" Type="http://schemas.openxmlformats.org/officeDocument/2006/relationships/slide" Target="slides/slide4.xml"  /><Relationship Id="rId8" Type="http://schemas.openxmlformats.org/officeDocument/2006/relationships/slide" Target="slides/slide5.xml"  /><Relationship Id="rId9" Type="http://schemas.openxmlformats.org/officeDocument/2006/relationships/slide" Target="slides/slide6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3.vml.rels><?xml version="1.0" encoding="UTF-8" standalone="yes" ?><Relationships xmlns="http://schemas.openxmlformats.org/package/2006/relationships"><Relationship Id="rId1" Type="http://schemas.openxmlformats.org/officeDocument/2006/relationships/image" Target="../media/image14.emf"  /></Relationships>
</file>

<file path=ppt/drawings/_rels/vmlDrawing4.vml.rels><?xml version="1.0" encoding="UTF-8" standalone="yes" ?><Relationships xmlns="http://schemas.openxmlformats.org/package/2006/relationships"><Relationship Id="rId1" Type="http://schemas.openxmlformats.org/officeDocument/2006/relationships/image" Target="../media/image15.emf"  /></Relationships>
</file>

<file path=ppt/handoutMasters/_rels/handout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3.xml"  /></Relationships>
</file>

<file path=ppt/handoutMasters/handoutMaster1.xml><?xml version="1.0" encoding="utf-8"?>
<p:handout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D8D7A7C4-C82A-4D21-9AB0-F0C5A1D3EF09}" type="datetime1">
              <a:rPr lang="ko-KR" altLang="en-US"/>
              <a:pPr lvl="0">
                <a:defRPr/>
              </a:pPr>
              <a:t>2020-11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F450E784-2449-4FFD-AA69-3F5CFAA75BCB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E2B2BC9D-A816-4D0A-858B-1D023B3A8ACA}" type="datetime1">
              <a:rPr lang="ko-KR" altLang="en-US"/>
              <a:pPr lvl="0">
                <a:defRPr/>
              </a:pPr>
              <a:t>2020-11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09F4262C-968C-4EE9-8164-CE16364706B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10.xml.rels><?xml version="1.0" encoding="UTF-8" standalone="yes" ?><Relationships xmlns="http://schemas.openxmlformats.org/package/2006/relationships"><Relationship Id="rId1" Type="http://schemas.openxmlformats.org/officeDocument/2006/relationships/slide" Target="../slides/slide10.xml"  /><Relationship Id="rId2" Type="http://schemas.openxmlformats.org/officeDocument/2006/relationships/notesMaster" Target="../notesMasters/notesMaster1.xml"  /></Relationships>
</file>

<file path=ppt/notesSlides/_rels/notesSlide1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1.xml"  /><Relationship Id="rId2" Type="http://schemas.openxmlformats.org/officeDocument/2006/relationships/notesMaster" Target="../notesMasters/notesMaster1.xml"  /></Relationships>
</file>

<file path=ppt/notesSlides/_rels/notesSlide12.xml.rels><?xml version="1.0" encoding="UTF-8" standalone="yes" ?><Relationships xmlns="http://schemas.openxmlformats.org/package/2006/relationships"><Relationship Id="rId1" Type="http://schemas.openxmlformats.org/officeDocument/2006/relationships/slide" Target="../slides/slide12.xml"  /><Relationship Id="rId2" Type="http://schemas.openxmlformats.org/officeDocument/2006/relationships/notesMaster" Target="../notesMasters/notesMaster1.xml"  /></Relationships>
</file>

<file path=ppt/notesSlides/_rels/notesSlide13.xml.rels><?xml version="1.0" encoding="UTF-8" standalone="yes" ?><Relationships xmlns="http://schemas.openxmlformats.org/package/2006/relationships"><Relationship Id="rId1" Type="http://schemas.openxmlformats.org/officeDocument/2006/relationships/slide" Target="../slides/slide13.xml"  /><Relationship Id="rId2" Type="http://schemas.openxmlformats.org/officeDocument/2006/relationships/notesMaster" Target="../notesMasters/notesMaster1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3.xml"  /><Relationship Id="rId2" Type="http://schemas.openxmlformats.org/officeDocument/2006/relationships/notesMaster" Target="../notesMasters/notesMaster1.xml"  /></Relationships>
</file>

<file path=ppt/notesSlides/_rels/notesSlide4.xml.rels><?xml version="1.0" encoding="UTF-8" standalone="yes" ?><Relationships xmlns="http://schemas.openxmlformats.org/package/2006/relationships"><Relationship Id="rId1" Type="http://schemas.openxmlformats.org/officeDocument/2006/relationships/slide" Target="../slides/slide4.xml"  /><Relationship Id="rId2" Type="http://schemas.openxmlformats.org/officeDocument/2006/relationships/notesMaster" Target="../notesMasters/notesMaster1.xml"  /></Relationships>
</file>

<file path=ppt/notesSlides/_rels/notesSlide5.xml.rels><?xml version="1.0" encoding="UTF-8" standalone="yes" ?><Relationships xmlns="http://schemas.openxmlformats.org/package/2006/relationships"><Relationship Id="rId1" Type="http://schemas.openxmlformats.org/officeDocument/2006/relationships/slide" Target="../slides/slide5.xml"  /><Relationship Id="rId2" Type="http://schemas.openxmlformats.org/officeDocument/2006/relationships/notesMaster" Target="../notesMasters/notesMaster1.xml"  /></Relationships>
</file>

<file path=ppt/notesSlides/_rels/notesSlide6.xml.rels><?xml version="1.0" encoding="UTF-8" standalone="yes" ?><Relationships xmlns="http://schemas.openxmlformats.org/package/2006/relationships"><Relationship Id="rId1" Type="http://schemas.openxmlformats.org/officeDocument/2006/relationships/slide" Target="../slides/slide6.xml"  /><Relationship Id="rId2" Type="http://schemas.openxmlformats.org/officeDocument/2006/relationships/notesMaster" Target="../notesMasters/notesMaster1.xml"  /></Relationships>
</file>

<file path=ppt/notesSlides/_rels/notesSlide7.xml.rels><?xml version="1.0" encoding="UTF-8" standalone="yes" ?><Relationships xmlns="http://schemas.openxmlformats.org/package/2006/relationships"><Relationship Id="rId1" Type="http://schemas.openxmlformats.org/officeDocument/2006/relationships/slide" Target="../slides/slide7.xml"  /><Relationship Id="rId2" Type="http://schemas.openxmlformats.org/officeDocument/2006/relationships/notesMaster" Target="../notesMasters/notesMaster1.xml"  /></Relationships>
</file>

<file path=ppt/notesSlides/_rels/notesSlide8.xml.rels><?xml version="1.0" encoding="UTF-8" standalone="yes" ?><Relationships xmlns="http://schemas.openxmlformats.org/package/2006/relationships"><Relationship Id="rId1" Type="http://schemas.openxmlformats.org/officeDocument/2006/relationships/slide" Target="../slides/slide8.xml"  /><Relationship Id="rId2" Type="http://schemas.openxmlformats.org/officeDocument/2006/relationships/notesMaster" Target="../notesMasters/notesMaster1.xml"  /></Relationships>
</file>

<file path=ppt/notesSlides/_rels/notesSlide9.xml.rels><?xml version="1.0" encoding="UTF-8" standalone="yes" ?><Relationships xmlns="http://schemas.openxmlformats.org/package/2006/relationships"><Relationship Id="rId1" Type="http://schemas.openxmlformats.org/officeDocument/2006/relationships/slide" Target="../slides/slide9.xml"  /><Relationship Id="rId2" Type="http://schemas.openxmlformats.org/officeDocument/2006/relationships/notesMaster" Target="../notesMasters/notesMaster1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0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3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3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4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5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6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6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7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7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8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8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9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9</a:t>
            </a:fld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슬라이드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idx="0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ko-KR" altLang="en-US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10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및 세로 텍스트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11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세로 제목 및 텍스트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 idx="0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2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및 내용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3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구역 머리글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4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콘텐츠 2개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5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비교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6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만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7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빈 화면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8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캡션 있는 콘텐츠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9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캡션 있는 그림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 name="Office 테마">
    <p:bg>
      <p:bgPr shadeToTitle="0">
        <a:solidFill>
          <a:srgbClr val="aac3e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 idx="0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transition xmlns:mc="http://schemas.openxmlformats.org/markup-compatibility/2006" xmlns:hp="http://schemas.haansoft.com/office/presentation/8.0" mc:Ignorable="hp" hp:hslDur="500"/>
  <p:hf sldNum="0"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1.vml"  /><Relationship Id="rId4" Type="http://schemas.openxmlformats.org/officeDocument/2006/relationships/oleObject" Target="../embeddings/oleObject1.bin"  /><Relationship Id="rId5" Type="http://schemas.openxmlformats.org/officeDocument/2006/relationships/image" Target="../media/image2.pn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0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image" Target="../media/image11.png"  /><Relationship Id="rId5" Type="http://schemas.openxmlformats.org/officeDocument/2006/relationships/image" Target="../media/image12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1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video" Target="../media/unknown1.mp4"  /><Relationship Id="rId5" Type="http://schemas.microsoft.com/office/2007/relationships/media" Target="../media/unknown1.mp4"  /><Relationship Id="rId6" Type="http://schemas.openxmlformats.org/officeDocument/2006/relationships/image" Target="../media/image13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2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3.vml"  /><Relationship Id="rId4" Type="http://schemas.openxmlformats.org/officeDocument/2006/relationships/oleObject" Target="../embeddings/oleObject3.bin"  /><Relationship Id="rId5" Type="http://schemas.openxmlformats.org/officeDocument/2006/relationships/image" Target="../media/image2.pn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3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4.vml"  /><Relationship Id="rId4" Type="http://schemas.openxmlformats.org/officeDocument/2006/relationships/oleObject" Target="../embeddings/oleObject4.bin"  /><Relationship Id="rId5" Type="http://schemas.openxmlformats.org/officeDocument/2006/relationships/image" Target="../media/image2.pn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2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2.vml"  /><Relationship Id="rId4" Type="http://schemas.openxmlformats.org/officeDocument/2006/relationships/oleObject" Target="../embeddings/oleObject2.bin"  /><Relationship Id="rId5" Type="http://schemas.openxmlformats.org/officeDocument/2006/relationships/image" Target="../media/image2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3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4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5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6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4.png"  /><Relationship Id="rId4" Type="http://schemas.openxmlformats.org/officeDocument/2006/relationships/image" Target="../media/image2.pn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7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image" Target="../media/image5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8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image" Target="../media/image6.png"  /><Relationship Id="rId5" Type="http://schemas.openxmlformats.org/officeDocument/2006/relationships/image" Target="../media/image7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9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image" Target="../media/image8.png"  /><Relationship Id="rId5" Type="http://schemas.openxmlformats.org/officeDocument/2006/relationships/image" Target="../media/image9.png"  /><Relationship Id="rId6" Type="http://schemas.openxmlformats.org/officeDocument/2006/relationships/image" Target="../media/image10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4" name="think-cell Slide" r:id="rId4" imgW="592" imgH="591" progId="TCLayout.ActiveDocument.1">
              <p:embed/>
            </p:oleObj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115614" y="1628800"/>
            <a:ext cx="6912770" cy="853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50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주사위 게임</a:t>
            </a:r>
            <a:endParaRPr lang="ko-KR" altLang="en-US" sz="50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32" name="바닥글 개체 틀 4"/>
          <p:cNvSpPr/>
          <p:nvPr/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200" b="0" i="0" u="none" strike="noStrike" kern="1200" cap="none" spc="0" normalizeH="0" baseline="0" mc:Ignorable="hp" hp:hslEmbossed="0">
                <a:solidFill>
                  <a:srgbClr val="8c8c8c"/>
                </a:solidFill>
                <a:latin typeface="경기천년제목OTF Light"/>
                <a:ea typeface="경기천년제목OTF Light"/>
              </a:rPr>
              <a:t>게임프로그래밍</a:t>
            </a:r>
            <a:endParaRPr xmlns:mc="http://schemas.openxmlformats.org/markup-compatibility/2006" xmlns:hp="http://schemas.haansoft.com/office/presentation/8.0" kumimoji="0" lang="ko-KR" altLang="en-US" sz="1200" b="0" i="0" u="none" strike="noStrike" kern="1200" cap="none" spc="0" normalizeH="0" baseline="0" mc:Ignorable="hp" hp:hslEmbossed="0">
              <a:solidFill>
                <a:srgbClr val="8c8c8c"/>
              </a:solidFill>
              <a:latin typeface="경기천년제목OTF Light"/>
              <a:ea typeface="경기천년제목OTF Light"/>
            </a:endParaRPr>
          </a:p>
        </p:txBody>
      </p:sp>
      <p:pic>
        <p:nvPicPr>
          <p:cNvPr id="33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34" name="TextBox 9"/>
          <p:cNvSpPr txBox="1"/>
          <p:nvPr/>
        </p:nvSpPr>
        <p:spPr>
          <a:xfrm>
            <a:off x="1835696" y="4365104"/>
            <a:ext cx="6912771" cy="1462290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김주현 교수님</a:t>
            </a:r>
            <a:endPara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</a:endParaRPr>
          </a:p>
          <a:p>
            <a:pPr mar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소프트웨어학과</a:t>
            </a:r>
            <a:endPara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</a:endParaRPr>
          </a:p>
          <a:p>
            <a:pPr mar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3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2018675065</a:t>
            </a:r>
            <a:r>
              <a: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 조예빈</a:t>
            </a:r>
            <a:endPara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3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4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실행과 문서화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pic>
        <p:nvPicPr>
          <p:cNvPr id="33" name=""/>
          <p:cNvPicPr/>
          <p:nvPr/>
        </p:nvPicPr>
        <p:blipFill rotWithShape="1">
          <a:blip r:embed="rId4"/>
          <a:stretch>
            <a:fillRect/>
          </a:stretch>
        </p:blipFill>
        <p:spPr>
          <a:xfrm>
            <a:off x="395536" y="2330863"/>
            <a:ext cx="4176464" cy="2196274"/>
          </a:xfrm>
          <a:prstGeom prst="rect">
            <a:avLst/>
          </a:prstGeom>
        </p:spPr>
      </p:pic>
      <p:pic>
        <p:nvPicPr>
          <p:cNvPr id="34" name=""/>
          <p:cNvPicPr/>
          <p:nvPr/>
        </p:nvPicPr>
        <p:blipFill rotWithShape="1">
          <a:blip r:embed="rId5"/>
          <a:stretch>
            <a:fillRect/>
          </a:stretch>
        </p:blipFill>
        <p:spPr>
          <a:xfrm>
            <a:off x="4572000" y="2330863"/>
            <a:ext cx="4176522" cy="2196274"/>
          </a:xfrm>
          <a:prstGeom prst="rect">
            <a:avLst/>
          </a:prstGeom>
        </p:spPr>
      </p:pic>
      <p:sp>
        <p:nvSpPr>
          <p:cNvPr id="35" name=""/>
          <p:cNvSpPr txBox="1"/>
          <p:nvPr/>
        </p:nvSpPr>
        <p:spPr>
          <a:xfrm>
            <a:off x="5220071" y="3284984"/>
            <a:ext cx="3816425" cy="701028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1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번과 </a:t>
            </a: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2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번이 합이 다른 경우 </a:t>
            </a:r>
            <a:endPara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-&gt;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패배</a:t>
            </a:r>
            <a:endPara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4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실행과 문서화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pic>
        <p:nvPicPr>
          <p:cNvPr id="27" name="녹화_2020_11_15_01_50_56_257.mp4">
            <a:hlinkClick r:id="" action="ppaction://media"/>
          </p:cNvPr>
          <p:cNvPicPr>
            <a:picLocks noRot="1"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 rotWithShape="1">
          <a:blip r:embed="rId6"/>
          <a:stretch>
            <a:fillRect/>
          </a:stretch>
        </p:blipFill>
        <p:spPr>
          <a:xfrm>
            <a:off x="685800" y="1333500"/>
            <a:ext cx="7772400" cy="4191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7996" fill="hold"/>
                                        <p:tgtEl>
                                          <p:spTgt spid="2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7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7"/>
                </p:tgtEl>
              </p:cMediaNode>
            </p:video>
          </p:childTnLst>
        </p:cTn>
      </p:par>
    </p:tnLst>
  </p:timing>
</p:sld>
</file>

<file path=ppt/slides/slide1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4" imgW="592" imgH="591" progId="TCLayout.ActiveDocument.1">
              <p:embed/>
            </p:oleObj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20083" y="620688"/>
            <a:ext cx="2903834" cy="768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45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출처</a:t>
            </a:r>
            <a:endParaRPr lang="ko-KR" altLang="en-US" sz="45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43608" y="2556817"/>
            <a:ext cx="3956198" cy="471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효과음 </a:t>
            </a:r>
            <a:r>
              <a:rPr lang="en-US" altLang="ko-KR" sz="2500">
                <a:latin typeface="경기천년제목OTF Light"/>
                <a:ea typeface="경기천년제목OTF Light"/>
              </a:rPr>
              <a:t>:</a:t>
            </a:r>
            <a:r>
              <a:rPr lang="ko-KR" altLang="en-US" sz="2500">
                <a:latin typeface="경기천년제목OTF Light"/>
                <a:ea typeface="경기천년제목OTF Light"/>
              </a:rPr>
              <a:t> 뮤팟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47849" y="3204889"/>
            <a:ext cx="3956198" cy="472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녹화프로그램 </a:t>
            </a:r>
            <a:r>
              <a:rPr lang="en-US" altLang="ko-KR" sz="2500">
                <a:latin typeface="경기천년제목OTF Light"/>
                <a:ea typeface="경기천년제목OTF Light"/>
              </a:rPr>
              <a:t>:</a:t>
            </a:r>
            <a:r>
              <a:rPr lang="ko-KR" altLang="en-US" sz="2500">
                <a:latin typeface="경기천년제목OTF Light"/>
                <a:ea typeface="경기천년제목OTF Light"/>
              </a:rPr>
              <a:t> 오캠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pic>
        <p:nvPicPr>
          <p:cNvPr id="42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4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45" name="TextBox 29"/>
          <p:cNvSpPr txBox="1"/>
          <p:nvPr/>
        </p:nvSpPr>
        <p:spPr>
          <a:xfrm>
            <a:off x="1043608" y="3893006"/>
            <a:ext cx="3956198" cy="472098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더빙 프로그램 </a:t>
            </a:r>
            <a:r>
              <a:rPr xmlns:mc="http://schemas.openxmlformats.org/markup-compatibility/2006" xmlns:hp="http://schemas.haansoft.com/office/presentation/8.0" kumimoji="0" lang="en-US" altLang="ko-KR" sz="25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5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</a:rPr>
              <a:t> 네이버 클로바</a:t>
            </a:r>
            <a:endParaRPr xmlns:mc="http://schemas.openxmlformats.org/markup-compatibility/2006" xmlns:hp="http://schemas.haansoft.com/office/presentation/8.0" kumimoji="0" lang="ko-KR" altLang="en-US" sz="25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6" name="think-cell Slide" r:id="rId4" imgW="592" imgH="591" progId="TCLayout.ActiveDocument.1">
              <p:embed/>
            </p:oleObj>
          </a:graphicData>
        </a:graphic>
      </p:graphicFrame>
      <p:sp>
        <p:nvSpPr>
          <p:cNvPr id="7" name="AutoShape 8" descr="Image result for 공단기"/>
          <p:cNvSpPr>
            <a:spLocks noChangeAspect="1" noChangeArrowheads="1"/>
          </p:cNvSpPr>
          <p:nvPr/>
        </p:nvSpPr>
        <p:spPr>
          <a:xfrm>
            <a:off x="1682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8" name="AutoShape 10" descr="Image result for 공단기"/>
          <p:cNvSpPr>
            <a:spLocks noChangeAspect="1" noChangeArrowheads="1"/>
          </p:cNvSpPr>
          <p:nvPr/>
        </p:nvSpPr>
        <p:spPr>
          <a:xfrm>
            <a:off x="3206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9" name="AutoShape 12" descr="Image result for 공단기"/>
          <p:cNvSpPr>
            <a:spLocks noChangeAspect="1" noChangeArrowheads="1"/>
          </p:cNvSpPr>
          <p:nvPr/>
        </p:nvSpPr>
        <p:spPr>
          <a:xfrm>
            <a:off x="473075" y="1603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1618392" y="2420888"/>
            <a:ext cx="5904656" cy="901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5400">
                <a:latin typeface="Sandoll 고딕NeoRound 05 Md"/>
                <a:ea typeface="Sandoll 고딕NeoRound 05 Md"/>
              </a:rPr>
              <a:t>감사합니다</a:t>
            </a:r>
            <a:endParaRPr lang="ko-KR" altLang="en-US" sz="4500">
              <a:latin typeface="Sandoll 고딕NeoRound 05 Md"/>
              <a:ea typeface="Sandoll 고딕NeoRound 05 Md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777882" y="4106238"/>
            <a:ext cx="3666326" cy="511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28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QnA</a:t>
            </a:r>
            <a:endParaRPr lang="ko-KR" altLang="en-US" sz="28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pic>
        <p:nvPicPr>
          <p:cNvPr id="27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8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4" imgW="592" imgH="591" progId="TCLayout.ActiveDocument.1">
              <p:embed/>
            </p:oleObj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20083" y="620688"/>
            <a:ext cx="2903834" cy="768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45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Contents</a:t>
            </a:r>
            <a:endParaRPr lang="ko-KR" altLang="en-US" sz="45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43608" y="2308835"/>
            <a:ext cx="3956198" cy="471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문제 분석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43608" y="3060536"/>
            <a:ext cx="3956198" cy="472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 명세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3608" y="3748995"/>
            <a:ext cx="3956198" cy="471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 작성과 완성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43608" y="4469075"/>
            <a:ext cx="3956198" cy="472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의 실행과 문서화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pic>
        <p:nvPicPr>
          <p:cNvPr id="42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4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1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문제 분석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19" name=""/>
          <p:cNvSpPr txBox="1"/>
          <p:nvPr/>
        </p:nvSpPr>
        <p:spPr>
          <a:xfrm>
            <a:off x="611560" y="2706399"/>
            <a:ext cx="7128792" cy="452641"/>
          </a:xfrm>
          <a:prstGeom prst="rect">
            <a:avLst/>
          </a:prstGeom>
        </p:spPr>
        <p:txBody>
          <a:bodyPr wrap="square">
            <a:spAutoFit/>
          </a:bodyPr>
          <a:p>
            <a:pPr>
              <a:defRPr/>
            </a:pPr>
            <a:r>
              <a:rPr lang="ko-KR" altLang="en-US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게임 </a:t>
            </a:r>
            <a:r>
              <a:rPr lang="en-US" altLang="ko-KR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lang="ko-KR" altLang="en-US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 주사위 게임 </a:t>
            </a:r>
            <a:endParaRPr lang="ko-KR" altLang="en-US" sz="2400">
              <a:solidFill>
                <a:schemeClr val="dk1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1" name=""/>
          <p:cNvSpPr txBox="1"/>
          <p:nvPr/>
        </p:nvSpPr>
        <p:spPr>
          <a:xfrm>
            <a:off x="611560" y="3354471"/>
            <a:ext cx="7128792" cy="453217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입력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마우스 클릭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2" name=""/>
          <p:cNvSpPr txBox="1"/>
          <p:nvPr/>
        </p:nvSpPr>
        <p:spPr>
          <a:xfrm>
            <a:off x="611560" y="3984649"/>
            <a:ext cx="7128792" cy="452463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출력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효과음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주사위 그림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판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포인트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결과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1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문제 분석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23" name=""/>
          <p:cNvSpPr txBox="1"/>
          <p:nvPr/>
        </p:nvSpPr>
        <p:spPr>
          <a:xfrm>
            <a:off x="611560" y="2708920"/>
            <a:ext cx="7920880" cy="302322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1.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주사위 색깔 변경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2.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주사위 굴릴 시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게임 승리시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게임 패배 시 효과음 추가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3.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게임이 끝났음에도 종료되지 않는 부분 개선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4.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게임 조건 추가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(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더블조건 추가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)</a:t>
            </a:r>
            <a:endPara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26" name=""/>
          <p:cNvSpPr txBox="1"/>
          <p:nvPr/>
        </p:nvSpPr>
        <p:spPr>
          <a:xfrm>
            <a:off x="576064" y="1656863"/>
            <a:ext cx="4572000" cy="546323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3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개선점</a:t>
            </a:r>
            <a:endParaRPr lang="ko-KR" altLang="en-US" sz="3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2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프로그램 명세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graphicFrame>
        <p:nvGraphicFramePr>
          <p:cNvPr id="21" name=""/>
          <p:cNvGraphicFramePr>
            <a:graphicFrameLocks noGrp="1"/>
          </p:cNvGraphicFramePr>
          <p:nvPr/>
        </p:nvGraphicFramePr>
        <p:xfrm>
          <a:off x="321944" y="1815457"/>
          <a:ext cx="8500110" cy="3485751"/>
        </p:xfrm>
        <a:graphic>
          <a:graphicData uri="http://schemas.openxmlformats.org/drawingml/2006/table">
            <a:tbl>
              <a:tblPr firstRow="1" bandRow="1">
                <a:tableStyleId>{C69FF03A-DF0C-4845-94BB-EF2385AD676B}</a:tableStyleId>
              </a:tblPr>
              <a:tblGrid>
                <a:gridCol w="2087880"/>
                <a:gridCol w="6412230"/>
              </a:tblGrid>
              <a:tr h="44055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 b="0">
                          <a:latin typeface="경기천년제목OTF Light"/>
                          <a:ea typeface="경기천년제목OTF Light"/>
                          <a:cs typeface="함초롬돋움"/>
                        </a:rPr>
                        <a:t>함수</a:t>
                      </a:r>
                      <a:endParaRPr lang="ko-KR" altLang="en-US" sz="2000" b="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 b="0">
                          <a:latin typeface="경기천년제목OTF Light"/>
                          <a:ea typeface="경기천년제목OTF Light"/>
                          <a:cs typeface="함초롬돋움"/>
                        </a:rPr>
                        <a:t>처리할 내용</a:t>
                      </a:r>
                      <a:endParaRPr lang="ko-KR" altLang="en-US" sz="2000" b="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423536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throwdice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굴리는 함수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,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결과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,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판 출력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rawface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그림 속성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68120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raw1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도트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1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그림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raw2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도트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2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그림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raw4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도트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4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그림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raw2mid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주사위 도트 가운데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2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그림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2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3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1672590" y="1056476"/>
            <a:ext cx="5798820" cy="503682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3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작성과 완성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sp>
        <p:nvSpPr>
          <p:cNvPr id="31" name=""/>
          <p:cNvSpPr/>
          <p:nvPr/>
        </p:nvSpPr>
        <p:spPr>
          <a:xfrm>
            <a:off x="1907704" y="1702678"/>
            <a:ext cx="144016" cy="648072"/>
          </a:xfrm>
          <a:prstGeom prst="leftBracket">
            <a:avLst>
              <a:gd name="adj" fmla="val 8333"/>
            </a:avLst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p>
            <a:pPr algn="ctr">
              <a:defRPr/>
            </a:pP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2" name=""/>
          <p:cNvSpPr/>
          <p:nvPr/>
        </p:nvSpPr>
        <p:spPr>
          <a:xfrm>
            <a:off x="1907704" y="2494766"/>
            <a:ext cx="144015" cy="720080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34" name=""/>
          <p:cNvSpPr/>
          <p:nvPr/>
        </p:nvSpPr>
        <p:spPr>
          <a:xfrm>
            <a:off x="1899320" y="3367246"/>
            <a:ext cx="152400" cy="2367880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1" animBg="1"/>
      <p:bldP spid="34" grpId="2" animBg="1"/>
    </p:bldLst>
  </p:timing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3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작성과 완성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pic>
        <p:nvPicPr>
          <p:cNvPr id="27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1728866" y="1141977"/>
            <a:ext cx="5686267" cy="4574046"/>
          </a:xfrm>
          <a:prstGeom prst="rect">
            <a:avLst/>
          </a:prstGeom>
        </p:spPr>
      </p:pic>
      <p:sp>
        <p:nvSpPr>
          <p:cNvPr id="28" name=""/>
          <p:cNvSpPr/>
          <p:nvPr/>
        </p:nvSpPr>
        <p:spPr>
          <a:xfrm>
            <a:off x="1907704" y="1268760"/>
            <a:ext cx="144016" cy="3744416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9" name=""/>
          <p:cNvSpPr/>
          <p:nvPr/>
        </p:nvSpPr>
        <p:spPr>
          <a:xfrm>
            <a:off x="1979712" y="5229200"/>
            <a:ext cx="72008" cy="216024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1" animBg="1"/>
    </p:bldLst>
  </p:timing>
</p:sld>
</file>

<file path=ppt/slides/slide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3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작성과 완성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pic>
        <p:nvPicPr>
          <p:cNvPr id="26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1367643" y="1340768"/>
            <a:ext cx="6408712" cy="2185232"/>
          </a:xfrm>
          <a:prstGeom prst="rect">
            <a:avLst/>
          </a:prstGeom>
        </p:spPr>
      </p:pic>
      <p:pic>
        <p:nvPicPr>
          <p:cNvPr id="27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331639" y="3717032"/>
            <a:ext cx="6480720" cy="1944216"/>
          </a:xfrm>
          <a:prstGeom prst="rect">
            <a:avLst/>
          </a:prstGeom>
        </p:spPr>
      </p:pic>
      <p:sp>
        <p:nvSpPr>
          <p:cNvPr id="28" name=""/>
          <p:cNvSpPr/>
          <p:nvPr/>
        </p:nvSpPr>
        <p:spPr>
          <a:xfrm>
            <a:off x="1547664" y="1628800"/>
            <a:ext cx="72007" cy="288032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9" name=""/>
          <p:cNvSpPr/>
          <p:nvPr/>
        </p:nvSpPr>
        <p:spPr>
          <a:xfrm>
            <a:off x="1331640" y="2852936"/>
            <a:ext cx="72008" cy="504056"/>
          </a:xfrm>
          <a:prstGeom prst="leftBracket">
            <a:avLst>
              <a:gd name="adj" fmla="val 8333"/>
            </a:avLst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cxnSp>
        <p:nvCxnSpPr>
          <p:cNvPr id="31" name=""/>
          <p:cNvCxnSpPr/>
          <p:nvPr/>
        </p:nvCxnSpPr>
        <p:spPr>
          <a:xfrm>
            <a:off x="1187624" y="4293096"/>
            <a:ext cx="432048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"/>
          <p:cNvCxnSpPr/>
          <p:nvPr/>
        </p:nvCxnSpPr>
        <p:spPr>
          <a:xfrm>
            <a:off x="1187624" y="5517232"/>
            <a:ext cx="432048" cy="0"/>
          </a:xfrm>
          <a:prstGeom prst="straightConnector1">
            <a:avLst/>
          </a:prstGeom>
          <a:noFill/>
          <a:ln w="38100" cap="flat" cmpd="sng" algn="ctr">
            <a:solidFill>
              <a:srgbClr val="ff0000">
                <a:alpha val="100000"/>
              </a:srgbClr>
            </a:solidFill>
            <a:prstDash val="solid"/>
            <a:tailEnd type="arrow"/>
          </a:ln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1" animBg="1"/>
      <p:bldP spid="31" grpId="2" animBg="1"/>
      <p:bldP spid="32" grpId="3" animBg="1"/>
    </p:bldLst>
  </p:timing>
</p:sld>
</file>

<file path=ppt/slides/slide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4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o-KR" altLang="en-US" sz="4700">
                <a:latin typeface="경기천년제목OTF Light"/>
                <a:ea typeface="경기천년제목OTF Light"/>
              </a:rPr>
              <a:t>프로그램 실행과 문서화</a:t>
            </a:r>
            <a:endParaRPr lang="ko-KR" altLang="en-US" sz="4700">
              <a:latin typeface="경기천년제목OTF Light"/>
              <a:ea typeface="경기천년제목OTF Light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sp>
        <p:nvSpPr>
          <p:cNvPr id="25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1-16</a:t>
            </a:r>
            <a:endParaRPr lang="ko-KR" altLang="en-US"/>
          </a:p>
        </p:txBody>
      </p:sp>
      <p:pic>
        <p:nvPicPr>
          <p:cNvPr id="26" name=""/>
          <p:cNvPicPr/>
          <p:nvPr/>
        </p:nvPicPr>
        <p:blipFill rotWithShape="1">
          <a:blip r:embed="rId4"/>
          <a:stretch>
            <a:fillRect/>
          </a:stretch>
        </p:blipFill>
        <p:spPr>
          <a:xfrm>
            <a:off x="251462" y="1116240"/>
            <a:ext cx="4176522" cy="2196274"/>
          </a:xfrm>
          <a:prstGeom prst="rect">
            <a:avLst/>
          </a:prstGeom>
        </p:spPr>
      </p:pic>
      <p:sp>
        <p:nvSpPr>
          <p:cNvPr id="30" name=""/>
          <p:cNvSpPr txBox="1"/>
          <p:nvPr/>
        </p:nvSpPr>
        <p:spPr>
          <a:xfrm>
            <a:off x="4572000" y="1863870"/>
            <a:ext cx="2448272" cy="701034"/>
          </a:xfrm>
          <a:prstGeom prst="rect">
            <a:avLst/>
          </a:prstGeom>
        </p:spPr>
        <p:txBody>
          <a:bodyPr wrap="square">
            <a:spAutoFit/>
          </a:bodyPr>
          <a:p>
            <a:pPr>
              <a:defRPr/>
            </a:pPr>
            <a:r>
              <a:rPr lang="ko-KR" altLang="en-US" sz="2000">
                <a:latin typeface="경기천년제목OTF Light"/>
                <a:ea typeface="경기천년제목OTF Light"/>
                <a:cs typeface="함초롬돋움"/>
              </a:rPr>
              <a:t>더블이 나온 경우 </a:t>
            </a:r>
            <a:endParaRPr lang="ko-KR" altLang="en-US" sz="2000">
              <a:latin typeface="경기천년제목OTF Light"/>
              <a:ea typeface="경기천년제목OTF Light"/>
              <a:cs typeface="함초롬돋움"/>
            </a:endParaRPr>
          </a:p>
          <a:p>
            <a:pPr>
              <a:defRPr/>
            </a:pPr>
            <a:r>
              <a:rPr lang="en-US" altLang="ko-KR" sz="2000">
                <a:latin typeface="경기천년제목OTF Light"/>
                <a:ea typeface="경기천년제목OTF Light"/>
                <a:cs typeface="함초롬돋움"/>
              </a:rPr>
              <a:t>-&gt;</a:t>
            </a:r>
            <a:r>
              <a:rPr lang="ko-KR" altLang="en-US" sz="2000">
                <a:latin typeface="경기천년제목OTF Light"/>
                <a:ea typeface="경기천년제목OTF Light"/>
                <a:cs typeface="함초롬돋움"/>
              </a:rPr>
              <a:t> 승리</a:t>
            </a:r>
            <a:endParaRPr lang="ko-KR" altLang="en-US" sz="2000">
              <a:latin typeface="경기천년제목OTF Light"/>
              <a:ea typeface="경기천년제목OTF Light"/>
              <a:cs typeface="함초롬돋움"/>
            </a:endParaRPr>
          </a:p>
        </p:txBody>
      </p:sp>
      <p:pic>
        <p:nvPicPr>
          <p:cNvPr id="34" name=""/>
          <p:cNvPicPr/>
          <p:nvPr/>
        </p:nvPicPr>
        <p:blipFill rotWithShape="1">
          <a:blip r:embed="rId5"/>
          <a:stretch>
            <a:fillRect/>
          </a:stretch>
        </p:blipFill>
        <p:spPr>
          <a:xfrm>
            <a:off x="4427926" y="3680998"/>
            <a:ext cx="4176522" cy="2196274"/>
          </a:xfrm>
          <a:prstGeom prst="rect">
            <a:avLst/>
          </a:prstGeom>
        </p:spPr>
      </p:pic>
      <p:sp>
        <p:nvSpPr>
          <p:cNvPr id="35" name=""/>
          <p:cNvSpPr txBox="1"/>
          <p:nvPr/>
        </p:nvSpPr>
        <p:spPr>
          <a:xfrm>
            <a:off x="5220014" y="4654172"/>
            <a:ext cx="3168352" cy="701028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1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번과 </a:t>
            </a: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2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번이 합이 같은 경우 </a:t>
            </a:r>
            <a:endPara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-&gt;</a:t>
            </a:r>
            <a:r>
              <a: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승리</a:t>
            </a:r>
            <a:endParaRPr xmlns:mc="http://schemas.openxmlformats.org/markup-compatibility/2006" xmlns:hp="http://schemas.haansoft.com/office/presentation/8.0" kumimoji="0" lang="ko-KR" altLang="en-US" sz="20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pic>
        <p:nvPicPr>
          <p:cNvPr id="36" name=""/>
          <p:cNvPicPr/>
          <p:nvPr/>
        </p:nvPicPr>
        <p:blipFill rotWithShape="1">
          <a:blip r:embed="rId6"/>
          <a:stretch>
            <a:fillRect/>
          </a:stretch>
        </p:blipFill>
        <p:spPr>
          <a:xfrm>
            <a:off x="251404" y="3680998"/>
            <a:ext cx="4176522" cy="21962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한컴오피스">
  <a:themeElements>
    <a:clrScheme name="한컴오피스">
      <a:dk1>
        <a:sysClr val="windowText" lastClr="000000"/>
      </a:dk1>
      <a:lt1>
        <a:sysClr val="window" lastClr="ffffff"/>
      </a:lt1>
      <a:dk2>
        <a:srgbClr val="3a3c84"/>
      </a:dk2>
      <a:lt2>
        <a:srgbClr val="faf3db"/>
      </a:lt2>
      <a:accent1>
        <a:srgbClr val="6182d6"/>
      </a:accent1>
      <a:accent2>
        <a:srgbClr val="ff843a"/>
      </a:accent2>
      <a:accent3>
        <a:srgbClr val="b2b2b2"/>
      </a:accent3>
      <a:accent4>
        <a:srgbClr val="ffd700"/>
      </a:accent4>
      <a:accent5>
        <a:srgbClr val="289b6e"/>
      </a:accent5>
      <a:accent6>
        <a:srgbClr val="9d5cbb"/>
      </a:accent6>
      <a:hlink>
        <a:srgbClr val="0000ff"/>
      </a:hlink>
      <a:folHlink>
        <a:srgbClr val="800080"/>
      </a:folHlink>
    </a:clrScheme>
    <a:fontScheme name="한컴오피스">
      <a:maj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한컴오피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한컴오피스">
  <a:themeElements>
    <a:clrScheme name="한컴오피스">
      <a:dk1>
        <a:sysClr val="windowText" lastClr="000000"/>
      </a:dk1>
      <a:lt1>
        <a:sysClr val="window" lastClr="ffffff"/>
      </a:lt1>
      <a:dk2>
        <a:srgbClr val="3a3c84"/>
      </a:dk2>
      <a:lt2>
        <a:srgbClr val="faf3db"/>
      </a:lt2>
      <a:accent1>
        <a:srgbClr val="6182d6"/>
      </a:accent1>
      <a:accent2>
        <a:srgbClr val="ff843a"/>
      </a:accent2>
      <a:accent3>
        <a:srgbClr val="b2b2b2"/>
      </a:accent3>
      <a:accent4>
        <a:srgbClr val="ffd700"/>
      </a:accent4>
      <a:accent5>
        <a:srgbClr val="289b6e"/>
      </a:accent5>
      <a:accent6>
        <a:srgbClr val="9d5cbb"/>
      </a:accent6>
      <a:hlink>
        <a:srgbClr val="0000ff"/>
      </a:hlink>
      <a:folHlink>
        <a:srgbClr val="800080"/>
      </a:folHlink>
    </a:clrScheme>
    <a:fontScheme name="한컴오피스">
      <a:maj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한컴오피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180</ep:Words>
  <ep:PresentationFormat>화면 슬라이드 쇼(4:3)</ep:PresentationFormat>
  <ep:Paragraphs>61</ep:Paragraphs>
  <ep:Slides>13</ep:Slides>
  <ep:Notes>13</ep:Notes>
  <ep:TotalTime>0</ep:TotalTime>
  <ep:HiddenSlides>0</ep:HiddenSlides>
  <ep:MMClips>1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ep:HeadingPairs>
  <ep:TitlesOfParts>
    <vt:vector size="14" baseType="lpstr">
      <vt:lpstr>Office 테마</vt:lpstr>
      <vt:lpstr>슬라이드 1</vt:lpstr>
      <vt:lpstr>슬라이드 2</vt:lpstr>
      <vt:lpstr>슬라이드 3</vt:lpstr>
      <vt:lpstr>슬라이드 4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  <vt:lpstr>슬라이드 13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02-10T03:38:01.000</dcterms:created>
  <dc:creator>최서원</dc:creator>
  <cp:lastModifiedBy>dplqs</cp:lastModifiedBy>
  <dcterms:modified xsi:type="dcterms:W3CDTF">2020-11-14T17:01:32.188</dcterms:modified>
  <cp:revision>124</cp:revision>
  <dc:title>PowerPoint 프레젠테이션</dc:title>
  <cp:version/>
</cp:coreProperties>
</file>